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56" r:id="rId5"/>
    <p:sldId id="265" r:id="rId6"/>
    <p:sldId id="259" r:id="rId7"/>
    <p:sldId id="263" r:id="rId8"/>
    <p:sldId id="276" r:id="rId9"/>
    <p:sldId id="277" r:id="rId10"/>
    <p:sldId id="273" r:id="rId11"/>
    <p:sldId id="278" r:id="rId12"/>
    <p:sldId id="279" r:id="rId13"/>
    <p:sldId id="274" r:id="rId14"/>
    <p:sldId id="280" r:id="rId15"/>
    <p:sldId id="275" r:id="rId16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7CE84F3-28C3-443E-9E96-99CF82512B78}" styleName="Dunkle Formatvorlage 1 - Akz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2412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7752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25982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56410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315086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7483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94454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5280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7353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8491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0277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0786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4963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89491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0729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75742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AD400-80EC-45FA-A5CD-D761043D7C5D}" type="datetimeFigureOut">
              <a:rPr lang="de-DE" smtClean="0"/>
              <a:t>26.06.202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B6E9090-8250-46FA-AF06-A1422C172177}" type="slidenum">
              <a:rPr lang="de-DE" smtClean="0"/>
              <a:t>‹Nr.›</a:t>
            </a:fld>
            <a:endParaRPr lang="de-DE"/>
          </a:p>
        </p:txBody>
      </p:sp>
      <p:graphicFrame>
        <p:nvGraphicFramePr>
          <p:cNvPr id="18" name="Objekt 7" hidden="1">
            <a:extLst>
              <a:ext uri="{FF2B5EF4-FFF2-40B4-BE49-F238E27FC236}">
                <a16:creationId xmlns:a16="http://schemas.microsoft.com/office/drawing/2014/main" id="{AD495F9B-8612-4377-B8B6-EAA4427297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78870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73" imgH="473" progId="TCLayout.ActiveDocument.1">
                  <p:embed/>
                </p:oleObj>
              </mc:Choice>
              <mc:Fallback>
                <p:oleObj name="think-cell Slide" r:id="rId19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D495F9B-8612-4377-B8B6-EAA442729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5422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gif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6.jpe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7.jpeg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8.jpeg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9.jpeg"/><Relationship Id="rId4" Type="http://schemas.openxmlformats.org/officeDocument/2006/relationships/image" Target="../media/image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10.png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11.jpeg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312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C9EFD73-EB1E-42D3-B3CF-AF2B32997F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22293"/>
            <a:ext cx="7407564" cy="2387600"/>
          </a:xfrm>
        </p:spPr>
        <p:txBody>
          <a:bodyPr vert="horz"/>
          <a:lstStyle/>
          <a:p>
            <a:r>
              <a:rPr lang="de-DE" dirty="0"/>
              <a:t>Schule </a:t>
            </a:r>
            <a:r>
              <a:rPr lang="de-DE" dirty="0" err="1"/>
              <a:t>Rungwisch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0E7040B-A55B-4584-BDBA-32E34AA5D5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06618" y="4785096"/>
            <a:ext cx="4544291" cy="165576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sz="3600" b="1" dirty="0"/>
              <a:t>Die </a:t>
            </a:r>
            <a:r>
              <a:rPr lang="de-DE" sz="3600" b="1" dirty="0" err="1"/>
              <a:t>schul.cloud</a:t>
            </a:r>
            <a:endParaRPr lang="en-US" sz="3600" b="1" dirty="0"/>
          </a:p>
        </p:txBody>
      </p:sp>
      <p:pic>
        <p:nvPicPr>
          <p:cNvPr id="4" name="Grafik 3" descr="C:\Users\Internet User\Documents\Schule Rungwisch Elternrat\Rungwischlogo.gif">
            <a:extLst>
              <a:ext uri="{FF2B5EF4-FFF2-40B4-BE49-F238E27FC236}">
                <a16:creationId xmlns:a16="http://schemas.microsoft.com/office/drawing/2014/main" id="{3D92372A-2337-4407-8671-6E4BA9C82D41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963" y="892809"/>
            <a:ext cx="3120073" cy="23876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69014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833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8718407"/>
              </p:ext>
            </p:extLst>
          </p:nvPr>
        </p:nvGraphicFramePr>
        <p:xfrm>
          <a:off x="838200" y="1709736"/>
          <a:ext cx="8128000" cy="3795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Schreibe</a:t>
                      </a:r>
                      <a:r>
                        <a:rPr lang="de-DE" baseline="0" dirty="0"/>
                        <a:t> eine neue Nachrich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1.</a:t>
                      </a:r>
                      <a:r>
                        <a:rPr lang="de-DE" baseline="0" dirty="0"/>
                        <a:t> </a:t>
                      </a:r>
                      <a:r>
                        <a:rPr lang="de-DE" dirty="0"/>
                        <a:t>Wähle den</a:t>
                      </a:r>
                      <a:r>
                        <a:rPr lang="de-DE" baseline="0" dirty="0"/>
                        <a:t> Kontakt aus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2. Klicke</a:t>
                      </a:r>
                      <a:r>
                        <a:rPr lang="de-DE" baseline="0" dirty="0"/>
                        <a:t> auf den Hak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38604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34" b="50707"/>
          <a:stretch/>
        </p:blipFill>
        <p:spPr>
          <a:xfrm>
            <a:off x="4902200" y="1709738"/>
            <a:ext cx="4118242" cy="3795135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8432800" y="3565236"/>
            <a:ext cx="683491" cy="4895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ounded Rectangle 6"/>
          <p:cNvSpPr/>
          <p:nvPr/>
        </p:nvSpPr>
        <p:spPr>
          <a:xfrm>
            <a:off x="8358909" y="1709737"/>
            <a:ext cx="683491" cy="63630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3536834" y="2262909"/>
            <a:ext cx="4664364" cy="130232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53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833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3670173"/>
              </p:ext>
            </p:extLst>
          </p:nvPr>
        </p:nvGraphicFramePr>
        <p:xfrm>
          <a:off x="838200" y="1709736"/>
          <a:ext cx="7372928" cy="3795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86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3334328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Schreibe</a:t>
                      </a:r>
                      <a:r>
                        <a:rPr lang="de-DE" baseline="0" dirty="0"/>
                        <a:t> eine neue Nachrich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1.</a:t>
                      </a:r>
                      <a:r>
                        <a:rPr lang="de-DE" baseline="0" dirty="0"/>
                        <a:t> </a:t>
                      </a:r>
                      <a:r>
                        <a:rPr lang="de-DE" dirty="0"/>
                        <a:t>Schreibe Deine</a:t>
                      </a:r>
                      <a:r>
                        <a:rPr lang="de-DE" baseline="0" dirty="0"/>
                        <a:t> Nachrich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803029">
                <a:tc>
                  <a:txBody>
                    <a:bodyPr/>
                    <a:lstStyle/>
                    <a:p>
                      <a:r>
                        <a:rPr lang="de-DE" dirty="0"/>
                        <a:t>2. Klicke</a:t>
                      </a:r>
                      <a:r>
                        <a:rPr lang="de-DE" baseline="0" dirty="0"/>
                        <a:t> auf den kleinen „Papierflieger“ zum Sende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38604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88"/>
          <a:stretch/>
        </p:blipFill>
        <p:spPr>
          <a:xfrm>
            <a:off x="4883727" y="1709736"/>
            <a:ext cx="3327400" cy="4524809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7610764" y="5735782"/>
            <a:ext cx="711200" cy="49876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4008582" y="3768436"/>
            <a:ext cx="3602182" cy="196734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3016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758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4C55A5-0AAB-4130-934A-0978FDDF7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er braucht welche Infos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AD086C-5543-49E1-9781-397BF11797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302327"/>
            <a:ext cx="8827577" cy="5366328"/>
          </a:xfrm>
        </p:spPr>
        <p:txBody>
          <a:bodyPr vert="horz" lIns="91440" tIns="45720" rIns="91440" bIns="45720" rtlCol="0" anchor="t">
            <a:normAutofit fontScale="32500" lnSpcReduction="20000"/>
          </a:bodyPr>
          <a:lstStyle/>
          <a:p>
            <a:pPr marL="0" indent="0">
              <a:buNone/>
            </a:pPr>
            <a:r>
              <a:rPr lang="de-DE" sz="3800" b="1" u="sng" dirty="0">
                <a:cs typeface="Calibri"/>
              </a:rPr>
              <a:t>*Schulbüro: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Krankmeldungen ( bis 07:45 Uhr, Name und Klasse des Kindes nicht vergessen )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Nachmittag:</a:t>
            </a:r>
          </a:p>
          <a:p>
            <a:pPr>
              <a:buFontTx/>
              <a:buChar char="-"/>
            </a:pPr>
            <a:r>
              <a:rPr lang="de-DE" sz="3800" b="1" dirty="0">
                <a:cs typeface="Calibri"/>
              </a:rPr>
              <a:t>Wenn das Kind zu einer anderen Zeit abgeholt wird</a:t>
            </a:r>
          </a:p>
          <a:p>
            <a:pPr>
              <a:buFontTx/>
              <a:buChar char="-"/>
            </a:pPr>
            <a:r>
              <a:rPr lang="de-DE" sz="3800" b="1" dirty="0">
                <a:cs typeface="Calibri"/>
              </a:rPr>
              <a:t>Wenn das Kind mit jemand anderen mit nach Hausen darf</a:t>
            </a:r>
          </a:p>
          <a:p>
            <a:pPr>
              <a:buFontTx/>
              <a:buChar char="-"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Elternvertreter: </a:t>
            </a:r>
          </a:p>
          <a:p>
            <a:pPr>
              <a:buFontTx/>
              <a:buChar char="-"/>
            </a:pPr>
            <a:r>
              <a:rPr lang="de-DE" sz="3800" b="1" dirty="0">
                <a:cs typeface="Calibri"/>
              </a:rPr>
              <a:t>Bei klasseninternen Themen</a:t>
            </a:r>
          </a:p>
          <a:p>
            <a:pPr>
              <a:buFontTx/>
              <a:buChar char="-"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Klassenleitung(en):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Anfragen bzw. Mitteilungen direkt an/von Klassenleitungen</a:t>
            </a:r>
          </a:p>
          <a:p>
            <a:pPr>
              <a:buFontTx/>
              <a:buChar char="-"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Elternrat: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 Bei schulinternen Themen, Anliegen, Wünschen etc. 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*Leitung: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Dringende Anliegen, die nicht mit den Lehrkräften geklärt werden können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endParaRPr lang="de-DE" b="1" dirty="0">
              <a:cs typeface="Calibri"/>
            </a:endParaRPr>
          </a:p>
          <a:p>
            <a:pPr marL="0" indent="0">
              <a:buNone/>
            </a:pPr>
            <a:endParaRPr lang="de-DE" dirty="0">
              <a:cs typeface="Calibri" panose="020F0502020204030204"/>
            </a:endParaRPr>
          </a:p>
        </p:txBody>
      </p:sp>
      <p:pic>
        <p:nvPicPr>
          <p:cNvPr id="4" name="Grafik 4" descr="Volltreffer">
            <a:extLst>
              <a:ext uri="{FF2B5EF4-FFF2-40B4-BE49-F238E27FC236}">
                <a16:creationId xmlns:a16="http://schemas.microsoft.com/office/drawing/2014/main" id="{D16597CA-3076-4FDF-ABA8-7807D53DE4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03085" y="2491221"/>
            <a:ext cx="2405206" cy="2405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121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85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4C55A5-0AAB-4130-934A-0978FDDF7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as ist die </a:t>
            </a:r>
            <a:r>
              <a:rPr lang="de-DE" dirty="0" err="1"/>
              <a:t>schul.cloud</a:t>
            </a:r>
            <a:r>
              <a:rPr lang="de-DE" dirty="0"/>
              <a:t>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AD086C-5543-49E1-9781-397BF11797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47500" lnSpcReduction="20000"/>
          </a:bodyPr>
          <a:lstStyle/>
          <a:p>
            <a:pPr marL="0" indent="0">
              <a:buNone/>
            </a:pPr>
            <a:r>
              <a:rPr lang="de-DE" sz="3800" b="1" dirty="0"/>
              <a:t>Die </a:t>
            </a:r>
            <a:r>
              <a:rPr lang="de-DE" sz="3800" b="1" dirty="0" err="1"/>
              <a:t>schul.cloud</a:t>
            </a:r>
            <a:r>
              <a:rPr lang="de-DE" sz="3800" b="1" dirty="0"/>
              <a:t> ist eine App </a:t>
            </a:r>
          </a:p>
          <a:p>
            <a:pPr marL="0" indent="0">
              <a:buNone/>
            </a:pPr>
            <a:r>
              <a:rPr lang="de-DE" sz="3800" b="1" dirty="0"/>
              <a:t>(herunterladen aus dem App Store / Play Store)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Über die App kann man per Chat direkt mit der Schule und den anderen Eltern Kontakt aufnehmen.</a:t>
            </a:r>
          </a:p>
          <a:p>
            <a:pPr marL="0" indent="0">
              <a:buNone/>
            </a:pPr>
            <a:endParaRPr lang="de-DE" sz="3800" b="1" dirty="0">
              <a:cs typeface="Calibri"/>
            </a:endParaRPr>
          </a:p>
          <a:p>
            <a:pPr marL="0" indent="0">
              <a:buNone/>
            </a:pPr>
            <a:r>
              <a:rPr lang="de-DE" sz="3800" b="1" u="sng" dirty="0">
                <a:cs typeface="Calibri"/>
              </a:rPr>
              <a:t>Alles über ein paar </a:t>
            </a:r>
            <a:r>
              <a:rPr lang="de-DE" sz="3800" b="1" u="sng" dirty="0" err="1">
                <a:cs typeface="Calibri"/>
              </a:rPr>
              <a:t>Clicks</a:t>
            </a:r>
            <a:r>
              <a:rPr lang="de-DE" sz="3800" b="1" u="sng" dirty="0">
                <a:cs typeface="Calibri"/>
              </a:rPr>
              <a:t> möglich: 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&gt; Krankmeldung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&gt; Klassenchat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&gt; Direkter Kontakt zu den </a:t>
            </a:r>
            <a:r>
              <a:rPr lang="de-DE" sz="3800" b="1" dirty="0" err="1">
                <a:cs typeface="Calibri"/>
              </a:rPr>
              <a:t>Lehrer:innen</a:t>
            </a:r>
            <a:r>
              <a:rPr lang="de-DE" sz="3800" b="1" dirty="0">
                <a:cs typeface="Calibri"/>
              </a:rPr>
              <a:t> und </a:t>
            </a:r>
            <a:r>
              <a:rPr lang="de-DE" sz="3800" b="1" dirty="0" err="1">
                <a:cs typeface="Calibri"/>
              </a:rPr>
              <a:t>Erzieher:innen</a:t>
            </a:r>
            <a:r>
              <a:rPr lang="de-DE" sz="3800" b="1" dirty="0">
                <a:cs typeface="Calibri"/>
              </a:rPr>
              <a:t> </a:t>
            </a:r>
          </a:p>
          <a:p>
            <a:pPr marL="0" indent="0">
              <a:buNone/>
            </a:pPr>
            <a:r>
              <a:rPr lang="de-DE" sz="3800" b="1" dirty="0">
                <a:cs typeface="Calibri"/>
              </a:rPr>
              <a:t>-&gt; Infos und Elternbriefe kommen direkt digital</a:t>
            </a:r>
          </a:p>
          <a:p>
            <a:pPr marL="0" indent="0">
              <a:buNone/>
            </a:pPr>
            <a:endParaRPr lang="de-DE" b="1" dirty="0">
              <a:cs typeface="Calibri"/>
            </a:endParaRPr>
          </a:p>
          <a:p>
            <a:pPr marL="0" indent="0">
              <a:buNone/>
            </a:pPr>
            <a:endParaRPr lang="de-DE" dirty="0">
              <a:cs typeface="Calibri" panose="020F0502020204030204"/>
            </a:endParaRPr>
          </a:p>
        </p:txBody>
      </p:sp>
      <p:pic>
        <p:nvPicPr>
          <p:cNvPr id="7" name="Grafik 4" descr="Route zwei Stecknadeln mit Weg">
            <a:extLst>
              <a:ext uri="{FF2B5EF4-FFF2-40B4-BE49-F238E27FC236}">
                <a16:creationId xmlns:a16="http://schemas.microsoft.com/office/drawing/2014/main" id="{F6A4EF17-630A-4270-A91E-2BA8AF4177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86204" y="3362036"/>
            <a:ext cx="2124364" cy="212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5149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287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24C55A5-0AAB-4130-934A-0978FDDF7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Wie installiere ich die </a:t>
            </a:r>
            <a:r>
              <a:rPr lang="de-DE" dirty="0" err="1"/>
              <a:t>schul.cloud</a:t>
            </a:r>
            <a:r>
              <a:rPr lang="de-DE" dirty="0"/>
              <a:t>?</a:t>
            </a:r>
            <a:endParaRPr lang="de-DE" dirty="0">
              <a:cs typeface="Calibri Light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AD086C-5543-49E1-9781-397BF11797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7334" y="1727201"/>
            <a:ext cx="8596668" cy="4314162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r>
              <a:rPr lang="de-DE" sz="2400" dirty="0">
                <a:cs typeface="Calibri" panose="020F0502020204030204"/>
              </a:rPr>
              <a:t>Die </a:t>
            </a:r>
            <a:r>
              <a:rPr lang="de-DE" sz="2400" dirty="0" err="1">
                <a:cs typeface="Calibri" panose="020F0502020204030204"/>
              </a:rPr>
              <a:t>schul.cloud</a:t>
            </a:r>
            <a:r>
              <a:rPr lang="de-DE" sz="2400" dirty="0">
                <a:cs typeface="Calibri" panose="020F0502020204030204"/>
              </a:rPr>
              <a:t> aus dem App Store / Play Store herunterladen.</a:t>
            </a:r>
          </a:p>
          <a:p>
            <a:endParaRPr lang="de-DE" sz="2400" dirty="0">
              <a:cs typeface="Calibri" panose="020F0502020204030204"/>
            </a:endParaRPr>
          </a:p>
          <a:p>
            <a:r>
              <a:rPr lang="de-DE" sz="2400" dirty="0">
                <a:cs typeface="Calibri" panose="020F0502020204030204"/>
              </a:rPr>
              <a:t>Zu Beginn an der Schule </a:t>
            </a:r>
            <a:r>
              <a:rPr lang="de-DE" sz="2400" dirty="0" err="1">
                <a:cs typeface="Calibri" panose="020F0502020204030204"/>
              </a:rPr>
              <a:t>Rungwisch</a:t>
            </a:r>
            <a:r>
              <a:rPr lang="de-DE" sz="2400" dirty="0">
                <a:cs typeface="Calibri" panose="020F0502020204030204"/>
              </a:rPr>
              <a:t> erhält jedes Kind einen Registrierungsschlüssel für seine Eltern.</a:t>
            </a:r>
          </a:p>
          <a:p>
            <a:pPr marL="0" indent="0">
              <a:buNone/>
            </a:pPr>
            <a:endParaRPr lang="de-DE" sz="2400" dirty="0">
              <a:cs typeface="Calibri" panose="020F0502020204030204"/>
            </a:endParaRPr>
          </a:p>
          <a:p>
            <a:r>
              <a:rPr lang="de-DE" sz="2400" dirty="0">
                <a:cs typeface="Calibri" panose="020F0502020204030204"/>
              </a:rPr>
              <a:t>Achtung: für die Anmeldung werden eine Emailadresse und </a:t>
            </a:r>
            <a:r>
              <a:rPr lang="de-DE" sz="2400" b="1" dirty="0">
                <a:cs typeface="Calibri" panose="020F0502020204030204"/>
              </a:rPr>
              <a:t>ZWEI</a:t>
            </a:r>
            <a:r>
              <a:rPr lang="de-DE" sz="2400" dirty="0">
                <a:cs typeface="Calibri" panose="020F0502020204030204"/>
              </a:rPr>
              <a:t> </a:t>
            </a:r>
            <a:r>
              <a:rPr lang="de-DE" sz="2400" u="sng" dirty="0">
                <a:cs typeface="Calibri" panose="020F0502020204030204"/>
              </a:rPr>
              <a:t>verschiedene</a:t>
            </a:r>
            <a:r>
              <a:rPr lang="de-DE" sz="2400" dirty="0">
                <a:cs typeface="Calibri" panose="020F0502020204030204"/>
              </a:rPr>
              <a:t> Passwörter benötigt.</a:t>
            </a:r>
          </a:p>
          <a:p>
            <a:pPr marL="0" indent="0">
              <a:buNone/>
            </a:pPr>
            <a:endParaRPr lang="de-DE" sz="2400" dirty="0">
              <a:cs typeface="Calibri" panose="020F0502020204030204"/>
            </a:endParaRPr>
          </a:p>
          <a:p>
            <a:r>
              <a:rPr lang="de-DE" sz="2400" dirty="0">
                <a:cs typeface="Calibri" panose="020F0502020204030204"/>
              </a:rPr>
              <a:t>Nun der Schritt-für-Schritt-Anleitung für die Einrichtung folgen</a:t>
            </a:r>
          </a:p>
          <a:p>
            <a:pPr lvl="1"/>
            <a:r>
              <a:rPr lang="de-DE" sz="2000" dirty="0">
                <a:cs typeface="Calibri" panose="020F0502020204030204"/>
              </a:rPr>
              <a:t>Bei Rückfragen wendet euch gern an eure Elternvertreter</a:t>
            </a:r>
          </a:p>
          <a:p>
            <a:pPr lvl="1"/>
            <a:r>
              <a:rPr lang="de-DE" sz="2000" dirty="0">
                <a:cs typeface="Calibri" panose="020F0502020204030204"/>
              </a:rPr>
              <a:t>Herr </a:t>
            </a:r>
            <a:r>
              <a:rPr lang="de-DE" sz="2000" dirty="0" err="1">
                <a:cs typeface="Calibri" panose="020F0502020204030204"/>
              </a:rPr>
              <a:t>Koy</a:t>
            </a:r>
            <a:r>
              <a:rPr lang="de-DE" sz="2000" dirty="0">
                <a:cs typeface="Calibri" panose="020F0502020204030204"/>
              </a:rPr>
              <a:t> betreut die </a:t>
            </a:r>
            <a:r>
              <a:rPr lang="de-DE" sz="2000" dirty="0" err="1">
                <a:cs typeface="Calibri" panose="020F0502020204030204"/>
              </a:rPr>
              <a:t>schul.cloud</a:t>
            </a:r>
            <a:r>
              <a:rPr lang="de-DE" sz="2000" dirty="0">
                <a:cs typeface="Calibri" panose="020F0502020204030204"/>
              </a:rPr>
              <a:t> und hilft auch gern weiter!</a:t>
            </a:r>
          </a:p>
          <a:p>
            <a:pPr marL="457200" lvl="1" indent="0">
              <a:buNone/>
            </a:pPr>
            <a:endParaRPr lang="de-DE" sz="2000" dirty="0"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052665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50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2419184"/>
              </p:ext>
            </p:extLst>
          </p:nvPr>
        </p:nvGraphicFramePr>
        <p:xfrm>
          <a:off x="838200" y="1274616"/>
          <a:ext cx="8128000" cy="4858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Öffne die App </a:t>
                      </a:r>
                      <a:r>
                        <a:rPr lang="de-DE" dirty="0" err="1"/>
                        <a:t>schul.clou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Gib Deine Email-Adresse</a:t>
                      </a:r>
                      <a:r>
                        <a:rPr lang="de-DE" baseline="0" dirty="0"/>
                        <a:t> e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25095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200" y="1274618"/>
            <a:ext cx="4064000" cy="485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025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50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7282286"/>
              </p:ext>
            </p:extLst>
          </p:nvPr>
        </p:nvGraphicFramePr>
        <p:xfrm>
          <a:off x="838200" y="1274616"/>
          <a:ext cx="8128000" cy="4858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In der App </a:t>
                      </a:r>
                      <a:r>
                        <a:rPr lang="de-DE" dirty="0" err="1"/>
                        <a:t>schul.clou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Gib Dein Passwort e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250959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" b="18803"/>
          <a:stretch/>
        </p:blipFill>
        <p:spPr>
          <a:xfrm>
            <a:off x="4902200" y="1274616"/>
            <a:ext cx="4064000" cy="484909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458691" y="4913745"/>
            <a:ext cx="3103418" cy="4156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7305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502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779598"/>
              </p:ext>
            </p:extLst>
          </p:nvPr>
        </p:nvGraphicFramePr>
        <p:xfrm>
          <a:off x="838200" y="1274616"/>
          <a:ext cx="8128000" cy="4858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In der App </a:t>
                      </a:r>
                      <a:r>
                        <a:rPr lang="de-DE" dirty="0" err="1"/>
                        <a:t>schul.cloud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r>
                        <a:rPr lang="de-DE" dirty="0"/>
                        <a:t>Gib Dein Verschlüsselungskennwort</a:t>
                      </a:r>
                      <a:r>
                        <a:rPr lang="de-DE" baseline="0" dirty="0"/>
                        <a:t> ein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8291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2509598">
                <a:tc>
                  <a:txBody>
                    <a:bodyPr/>
                    <a:lstStyle/>
                    <a:p>
                      <a:r>
                        <a:rPr lang="de-DE" dirty="0"/>
                        <a:t>(Das</a:t>
                      </a:r>
                      <a:r>
                        <a:rPr lang="de-DE" baseline="0" dirty="0"/>
                        <a:t> Passwort und das Verschlüsselungskennwort müssen zwei verschiedene Passwörter sein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62" b="13401"/>
          <a:stretch/>
        </p:blipFill>
        <p:spPr>
          <a:xfrm>
            <a:off x="4902200" y="1274616"/>
            <a:ext cx="4064000" cy="4858328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4996873" y="4516582"/>
            <a:ext cx="4525818" cy="1062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3334327" y="2576945"/>
            <a:ext cx="1662546" cy="193963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89517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34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640542"/>
              </p:ext>
            </p:extLst>
          </p:nvPr>
        </p:nvGraphicFramePr>
        <p:xfrm>
          <a:off x="838200" y="1709737"/>
          <a:ext cx="8128000" cy="4256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Öffne einen neuen</a:t>
                      </a:r>
                      <a:r>
                        <a:rPr lang="de-DE" baseline="0" dirty="0"/>
                        <a:t> Cha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Gehe zu Cha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92043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372" b="37927"/>
          <a:stretch/>
        </p:blipFill>
        <p:spPr>
          <a:xfrm>
            <a:off x="4902200" y="1709738"/>
            <a:ext cx="4064000" cy="425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0749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34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741612"/>
              </p:ext>
            </p:extLst>
          </p:nvPr>
        </p:nvGraphicFramePr>
        <p:xfrm>
          <a:off x="838200" y="1709737"/>
          <a:ext cx="6005946" cy="4256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7073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1948873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Öffne einen neuen</a:t>
                      </a:r>
                      <a:r>
                        <a:rPr lang="de-DE" baseline="0" dirty="0"/>
                        <a:t> Cha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Klicke</a:t>
                      </a:r>
                      <a:r>
                        <a:rPr lang="de-DE" baseline="0" dirty="0"/>
                        <a:t> auf das „Plus“- Symbol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92043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200" y="1709738"/>
            <a:ext cx="2357582" cy="4274212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6363855" y="5449455"/>
            <a:ext cx="646545" cy="42487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ounded Rectangle 9"/>
          <p:cNvSpPr/>
          <p:nvPr/>
        </p:nvSpPr>
        <p:spPr>
          <a:xfrm>
            <a:off x="6844146" y="1874982"/>
            <a:ext cx="507999" cy="37869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2" name="Straight Arrow Connector 11"/>
          <p:cNvCxnSpPr/>
          <p:nvPr/>
        </p:nvCxnSpPr>
        <p:spPr>
          <a:xfrm flipV="1">
            <a:off x="4507345" y="2253673"/>
            <a:ext cx="2235200" cy="62807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0452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34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A8277C6-1C5F-4459-A519-F8F9D57B05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620375" cy="1344613"/>
          </a:xfrm>
        </p:spPr>
        <p:txBody>
          <a:bodyPr vert="horz">
            <a:normAutofit/>
          </a:bodyPr>
          <a:lstStyle/>
          <a:p>
            <a:r>
              <a:rPr lang="de-DE" sz="4000" dirty="0"/>
              <a:t>Schritt-für-Schritt zum Chat 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6B6CE4-7762-47D9-9D22-A370CAAF09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de-DE" dirty="0">
                <a:ea typeface="+mn-lt"/>
                <a:cs typeface="+mn-lt"/>
              </a:rPr>
              <a:t> </a:t>
            </a:r>
            <a:endParaRPr lang="de-DE" dirty="0">
              <a:cs typeface="Calibri" panose="020F0502020204030204"/>
            </a:endParaRPr>
          </a:p>
          <a:p>
            <a:endParaRPr lang="de-DE" dirty="0">
              <a:cs typeface="Calibri" panose="020F0502020204030204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3268271"/>
              </p:ext>
            </p:extLst>
          </p:nvPr>
        </p:nvGraphicFramePr>
        <p:xfrm>
          <a:off x="838200" y="1709737"/>
          <a:ext cx="6005946" cy="42569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57073">
                  <a:extLst>
                    <a:ext uri="{9D8B030D-6E8A-4147-A177-3AD203B41FA5}">
                      <a16:colId xmlns:a16="http://schemas.microsoft.com/office/drawing/2014/main" val="3032994339"/>
                    </a:ext>
                  </a:extLst>
                </a:gridCol>
                <a:gridCol w="1948873">
                  <a:extLst>
                    <a:ext uri="{9D8B030D-6E8A-4147-A177-3AD203B41FA5}">
                      <a16:colId xmlns:a16="http://schemas.microsoft.com/office/drawing/2014/main" val="2065971430"/>
                    </a:ext>
                  </a:extLst>
                </a:gridCol>
              </a:tblGrid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Öffne einen neuen</a:t>
                      </a:r>
                      <a:r>
                        <a:rPr lang="de-DE" baseline="0" dirty="0"/>
                        <a:t> Chat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710151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Wähle einen Kontakt</a:t>
                      </a:r>
                      <a:r>
                        <a:rPr lang="de-DE" baseline="0" dirty="0"/>
                        <a:t> aus der Liste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3353285"/>
                  </a:ext>
                </a:extLst>
              </a:tr>
              <a:tr h="778841">
                <a:tc>
                  <a:txBody>
                    <a:bodyPr/>
                    <a:lstStyle/>
                    <a:p>
                      <a:r>
                        <a:rPr lang="de-DE" dirty="0"/>
                        <a:t>Hier die wichtigsten auf einen</a:t>
                      </a:r>
                      <a:r>
                        <a:rPr lang="de-DE" baseline="0" dirty="0"/>
                        <a:t> Blick: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2041352"/>
                  </a:ext>
                </a:extLst>
              </a:tr>
              <a:tr h="192043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2417007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369" y="1709737"/>
            <a:ext cx="4060896" cy="433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77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F4A83548D44145A3DD7E404DAD8541" ma:contentTypeVersion="8" ma:contentTypeDescription="Ein neues Dokument erstellen." ma:contentTypeScope="" ma:versionID="42e38e1eb3bc98c5d4552272ad7d58a6">
  <xsd:schema xmlns:xsd="http://www.w3.org/2001/XMLSchema" xmlns:xs="http://www.w3.org/2001/XMLSchema" xmlns:p="http://schemas.microsoft.com/office/2006/metadata/properties" xmlns:ns3="b2542204-5aa6-4b93-97be-26f960de26b0" xmlns:ns4="cc49b41e-d3f2-443d-a3ce-f85d6045d707" targetNamespace="http://schemas.microsoft.com/office/2006/metadata/properties" ma:root="true" ma:fieldsID="0f25b2bc4d7df28d44c86baa85442d65" ns3:_="" ns4:_="">
    <xsd:import namespace="b2542204-5aa6-4b93-97be-26f960de26b0"/>
    <xsd:import namespace="cc49b41e-d3f2-443d-a3ce-f85d6045d70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542204-5aa6-4b93-97be-26f960de26b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49b41e-d3f2-443d-a3ce-f85d6045d707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C2071D-DFB3-44DA-86DF-1E4AE26E529D}">
  <ds:schemaRefs>
    <ds:schemaRef ds:uri="http://purl.org/dc/terms/"/>
    <ds:schemaRef ds:uri="b2542204-5aa6-4b93-97be-26f960de26b0"/>
    <ds:schemaRef ds:uri="http://purl.org/dc/dcmitype/"/>
    <ds:schemaRef ds:uri="http://schemas.microsoft.com/office/infopath/2007/PartnerControls"/>
    <ds:schemaRef ds:uri="cc49b41e-d3f2-443d-a3ce-f85d6045d707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5412153-0E3E-4B3A-809B-C94F10BFD1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3B7C2E-F0E5-477E-8DD7-250A92D70A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2542204-5aa6-4b93-97be-26f960de26b0"/>
    <ds:schemaRef ds:uri="cc49b41e-d3f2-443d-a3ce-f85d6045d7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0</TotalTime>
  <Words>392</Words>
  <Application>Microsoft Office PowerPoint</Application>
  <PresentationFormat>Breitbild</PresentationFormat>
  <Paragraphs>81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Trebuchet MS</vt:lpstr>
      <vt:lpstr>Wingdings 3</vt:lpstr>
      <vt:lpstr>Facet</vt:lpstr>
      <vt:lpstr>think-cell Slide</vt:lpstr>
      <vt:lpstr>Schule Rungwisch</vt:lpstr>
      <vt:lpstr>Was ist die schul.cloud?</vt:lpstr>
      <vt:lpstr>Wie installiere ich die schul.cloud?</vt:lpstr>
      <vt:lpstr>Schritt-für-Schritt zum Chat </vt:lpstr>
      <vt:lpstr>Schritt-für-Schritt zum Chat </vt:lpstr>
      <vt:lpstr>Schritt-für-Schritt zum Chat </vt:lpstr>
      <vt:lpstr>Schritt-für-Schritt zum Chat </vt:lpstr>
      <vt:lpstr>Schritt-für-Schritt zum Chat </vt:lpstr>
      <vt:lpstr>Schritt-für-Schritt zum Chat </vt:lpstr>
      <vt:lpstr>Schritt-für-Schritt zum Chat </vt:lpstr>
      <vt:lpstr>Schritt-für-Schritt zum Chat </vt:lpstr>
      <vt:lpstr>Wer braucht welche Info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ule Rungwisch</dc:title>
  <dc:creator>Thomas Walter</dc:creator>
  <cp:lastModifiedBy>Gisela Vietor</cp:lastModifiedBy>
  <cp:revision>536</cp:revision>
  <dcterms:created xsi:type="dcterms:W3CDTF">2018-09-25T06:07:25Z</dcterms:created>
  <dcterms:modified xsi:type="dcterms:W3CDTF">2024-06-26T17:3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F4A83548D44145A3DD7E404DAD8541</vt:lpwstr>
  </property>
</Properties>
</file>